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848"/>
    <a:srgbClr val="7F7F7F"/>
    <a:srgbClr val="F2F2F2"/>
    <a:srgbClr val="D9D9D9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03" autoAdjust="0"/>
    <p:restoredTop sz="95332" autoAdjust="0"/>
  </p:normalViewPr>
  <p:slideViewPr>
    <p:cSldViewPr snapToGrid="0">
      <p:cViewPr varScale="1">
        <p:scale>
          <a:sx n="92" d="100"/>
          <a:sy n="92" d="100"/>
        </p:scale>
        <p:origin x="108" y="204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6/14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6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xmlns="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xmlns="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xmlns="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xmlns="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xmlns="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xmlns="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xmlns="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xmlns="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xmlns="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xmlns="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xmlns="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xmlns="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xmlns="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xmlns="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xmlns="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xmlns="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xmlns="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xmlns="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xmlns="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xmlns="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xmlns="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xmlns="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xmlns="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xmlns="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xmlns="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xmlns="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xmlns="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xmlns="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xmlns="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xmlns="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xmlns="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xmlns="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xmlns="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xmlns="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xmlns="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xmlns="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xmlns="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xmlns="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xmlns="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xmlns="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xmlns="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xmlns="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avi Vangal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822959" y="640080"/>
            <a:ext cx="6222077" cy="2630356"/>
          </a:xfrm>
        </p:spPr>
        <p:txBody>
          <a:bodyPr/>
          <a:lstStyle/>
          <a:p>
            <a:r>
              <a:rPr lang="en-US" dirty="0" smtClean="0"/>
              <a:t>Retail </a:t>
            </a:r>
            <a:br>
              <a:rPr lang="en-US" dirty="0" smtClean="0"/>
            </a:br>
            <a:r>
              <a:rPr lang="en-US" dirty="0" smtClean="0"/>
              <a:t>Front-store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/3/2019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tail Front-store </a:t>
            </a:r>
            <a:r>
              <a:rPr lang="en-US" dirty="0" smtClean="0"/>
              <a:t>Business </a:t>
            </a:r>
            <a:r>
              <a:rPr lang="en-US" dirty="0"/>
              <a:t>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listic view of the current </a:t>
            </a:r>
            <a:r>
              <a:rPr lang="en-US" dirty="0" smtClean="0"/>
              <a:t>Retail front-store business </a:t>
            </a:r>
            <a:r>
              <a:rPr lang="en-US" dirty="0"/>
              <a:t>model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EC2180E-ADC9-45E8-ACAC-AA8639D58EB0}"/>
              </a:ext>
            </a:extLst>
          </p:cNvPr>
          <p:cNvSpPr txBox="1"/>
          <p:nvPr/>
        </p:nvSpPr>
        <p:spPr>
          <a:xfrm>
            <a:off x="497149" y="1846555"/>
            <a:ext cx="2237169" cy="2837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264B917-4738-4EDA-9C92-C7733ED9246B}"/>
              </a:ext>
            </a:extLst>
          </p:cNvPr>
          <p:cNvSpPr txBox="1"/>
          <p:nvPr/>
        </p:nvSpPr>
        <p:spPr>
          <a:xfrm>
            <a:off x="4971495" y="1841672"/>
            <a:ext cx="2237169" cy="28427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87DD8883-8AB8-4DAB-9896-B97679AB488E}"/>
              </a:ext>
            </a:extLst>
          </p:cNvPr>
          <p:cNvSpPr txBox="1"/>
          <p:nvPr/>
        </p:nvSpPr>
        <p:spPr>
          <a:xfrm>
            <a:off x="497149" y="4690754"/>
            <a:ext cx="5598851" cy="16464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349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EA11D69-3879-4CCB-BAC8-6104091602CD}"/>
              </a:ext>
            </a:extLst>
          </p:cNvPr>
          <p:cNvSpPr txBox="1"/>
          <p:nvPr/>
        </p:nvSpPr>
        <p:spPr>
          <a:xfrm>
            <a:off x="9452503" y="1840417"/>
            <a:ext cx="2239385" cy="28439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9C2F0882-378F-43E3-B718-5F38E6584BD9}"/>
              </a:ext>
            </a:extLst>
          </p:cNvPr>
          <p:cNvSpPr txBox="1"/>
          <p:nvPr/>
        </p:nvSpPr>
        <p:spPr>
          <a:xfrm>
            <a:off x="7213110" y="1840418"/>
            <a:ext cx="2237169" cy="136464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B9BCF63C-1DFD-48EA-9435-EE4343DE3D94}"/>
              </a:ext>
            </a:extLst>
          </p:cNvPr>
          <p:cNvSpPr txBox="1"/>
          <p:nvPr/>
        </p:nvSpPr>
        <p:spPr>
          <a:xfrm>
            <a:off x="2732101" y="3195963"/>
            <a:ext cx="2237169" cy="14884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39F2A279-C025-414A-A9FC-A0F11D339A1E}"/>
              </a:ext>
            </a:extLst>
          </p:cNvPr>
          <p:cNvSpPr txBox="1"/>
          <p:nvPr/>
        </p:nvSpPr>
        <p:spPr>
          <a:xfrm>
            <a:off x="7213109" y="3206320"/>
            <a:ext cx="2237169" cy="14780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E00DCEC-069C-4C4E-84BA-825262ABB16E}"/>
              </a:ext>
            </a:extLst>
          </p:cNvPr>
          <p:cNvSpPr txBox="1"/>
          <p:nvPr/>
        </p:nvSpPr>
        <p:spPr>
          <a:xfrm>
            <a:off x="6093037" y="4687287"/>
            <a:ext cx="5598851" cy="16464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074584" y="2280359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cs typeface="Open Sans Bold"/>
              </a:rPr>
              <a:t>Distributors &amp; Suppliers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1072982" y="2653344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Manufacturers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2826318" y="2102813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OTC medication consultation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2826318" y="2491067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Curb side pickup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3886294" y="2102813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ome delivery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2814625" y="3521550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roduct portfolio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2814625" y="3922517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Local real-estate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5186450" y="2077633"/>
            <a:ext cx="1883581" cy="49074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elf-care + Sick-care</a:t>
            </a:r>
          </a:p>
          <a:p>
            <a:pPr algn="ctr"/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t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cs typeface="Open Sans Bold"/>
              </a:rPr>
              <a:t>10,500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cs typeface="Open Sans Bold"/>
              </a:rPr>
              <a:t>+ stores across the nation and in local communities 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5186450" y="2619076"/>
            <a:ext cx="1883581" cy="91434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elf-care Retail merchandising:</a:t>
            </a:r>
          </a:p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Over-the-counter medications, personal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care products,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wellness products, beauty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nd cosmetic products,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healthy food and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general merchandise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9674746" y="2206373"/>
            <a:ext cx="1823747" cy="45405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US domestic </a:t>
            </a:r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population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.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7430906" y="3497168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In person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7430906" y="3875590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hone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7430906" y="4254315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Text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8424039" y="3502158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Email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8424038" y="3889220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Web/ Mobile app</a:t>
            </a:r>
          </a:p>
        </p:txBody>
      </p:sp>
      <p:sp>
        <p:nvSpPr>
          <p:cNvPr id="47" name="Rounded Rectangle 46"/>
          <p:cNvSpPr/>
          <p:nvPr/>
        </p:nvSpPr>
        <p:spPr>
          <a:xfrm>
            <a:off x="8426631" y="4254315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ome delivery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7805145" y="2180626"/>
            <a:ext cx="1172320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Individual consumers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49" name="Rounded Rectangle 48"/>
          <p:cNvSpPr/>
          <p:nvPr/>
        </p:nvSpPr>
        <p:spPr>
          <a:xfrm>
            <a:off x="7805145" y="2568377"/>
            <a:ext cx="1172320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elf-care patients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0" name="Rounded Rectangle 49"/>
          <p:cNvSpPr/>
          <p:nvPr/>
        </p:nvSpPr>
        <p:spPr>
          <a:xfrm>
            <a:off x="855810" y="5808453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855810" y="4982614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Store real-estate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is very expensive especially in urban areas.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6454661" y="5197400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Sale of merchandising products and services</a:t>
            </a:r>
            <a:endParaRPr lang="en-US" sz="9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6454661" y="5599238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Sale of Health HUB services</a:t>
            </a:r>
            <a:endParaRPr lang="en-US" sz="9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1072982" y="3032026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ealth HUB partners?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5" name="Rounded Rectangle 54"/>
          <p:cNvSpPr/>
          <p:nvPr/>
        </p:nvSpPr>
        <p:spPr>
          <a:xfrm>
            <a:off x="3886293" y="2495703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ealth HUB &amp; </a:t>
            </a:r>
            <a:r>
              <a:rPr lang="en-US" sz="900" dirty="0">
                <a:solidFill>
                  <a:schemeClr val="tx1"/>
                </a:solidFill>
              </a:rPr>
              <a:t>care concierge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856007" y="5389490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Store </a:t>
            </a:r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operations &amp; supply chain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2826317" y="2866511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Inventory management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2814625" y="4318494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upply-chain &amp; Logistics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3886293" y="3511128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tore staff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3880436" y="3922517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ealth HUB products &amp; svs.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3886293" y="4313662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Vending machines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3880436" y="2866511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hoto, contact lenses services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5AEAF48-0095-4177-8B69-9B76704663F4}"/>
</file>

<file path=customXml/itemProps2.xml><?xml version="1.0" encoding="utf-8"?>
<ds:datastoreItem xmlns:ds="http://schemas.openxmlformats.org/officeDocument/2006/customXml" ds:itemID="{B24F0FD7-590D-477C-84D8-04F64A55F94D}"/>
</file>

<file path=customXml/itemProps3.xml><?xml version="1.0" encoding="utf-8"?>
<ds:datastoreItem xmlns:ds="http://schemas.openxmlformats.org/officeDocument/2006/customXml" ds:itemID="{3A4C5460-6341-4A06-8926-FDDA58E91623}"/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5927</TotalTime>
  <Words>167</Words>
  <Application>Microsoft Office PowerPoint</Application>
  <PresentationFormat>Widescreen</PresentationFormat>
  <Paragraphs>4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Domaine Display</vt:lpstr>
      <vt:lpstr>Lucida Grande</vt:lpstr>
      <vt:lpstr>Open Sans</vt:lpstr>
      <vt:lpstr>Open Sans Bold</vt:lpstr>
      <vt:lpstr>Open Sans Light</vt:lpstr>
      <vt:lpstr>OfficeoftheCTO_theme_100218</vt:lpstr>
      <vt:lpstr>think-cell Slide</vt:lpstr>
      <vt:lpstr>Retail  Front-store Business Canvas</vt:lpstr>
      <vt:lpstr>Retail Front-store Business Canvas</vt:lpstr>
    </vt:vector>
  </TitlesOfParts>
  <Company>Aetn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Vangala, Ravi</cp:lastModifiedBy>
  <cp:revision>806</cp:revision>
  <cp:lastPrinted>2017-04-13T12:11:49Z</cp:lastPrinted>
  <dcterms:created xsi:type="dcterms:W3CDTF">2017-11-30T21:23:10Z</dcterms:created>
  <dcterms:modified xsi:type="dcterms:W3CDTF">2019-06-14T20:0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166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